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3"/>
  </p:notesMasterIdLst>
  <p:handoutMasterIdLst>
    <p:handoutMasterId r:id="rId4"/>
  </p:handoutMasterIdLst>
  <p:sldIdLst>
    <p:sldId id="513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E64B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3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3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27316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1033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84" hidden="1">
            <a:extLst>
              <a:ext uri="{FF2B5EF4-FFF2-40B4-BE49-F238E27FC236}">
                <a16:creationId xmlns:a16="http://schemas.microsoft.com/office/drawing/2014/main" id="{53237C02-D8E7-4C9D-A9AB-C935D3E694FD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2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026" name="Objekt 84" hidden="1">
                        <a:extLst>
                          <a:ext uri="{FF2B5EF4-FFF2-40B4-BE49-F238E27FC236}">
                            <a16:creationId xmlns:a16="http://schemas.microsoft.com/office/drawing/2014/main" id="{53237C02-D8E7-4C9D-A9AB-C935D3E694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A2235726-AE76-45F4-BE46-9738A32743C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6FE2309C-8D81-43C3-A085-42A0B3AF7D0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B63174A3-CFC9-46EE-9395-3D308967C17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March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6D3032E0-635E-4A3F-B457-330E5A29BDB0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D3B48D69-34C4-4A99-BF76-BDD6DBE56BEE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1031" name="Group 7">
            <a:extLst>
              <a:ext uri="{FF2B5EF4-FFF2-40B4-BE49-F238E27FC236}">
                <a16:creationId xmlns:a16="http://schemas.microsoft.com/office/drawing/2014/main" id="{6E1FE47B-AE08-4085-A66B-06C06BF268DB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1034" name="Freeform 8">
              <a:extLst>
                <a:ext uri="{FF2B5EF4-FFF2-40B4-BE49-F238E27FC236}">
                  <a16:creationId xmlns:a16="http://schemas.microsoft.com/office/drawing/2014/main" id="{7490D156-6ECB-4057-9C32-A935F6383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5" name="Freeform 9">
              <a:extLst>
                <a:ext uri="{FF2B5EF4-FFF2-40B4-BE49-F238E27FC236}">
                  <a16:creationId xmlns:a16="http://schemas.microsoft.com/office/drawing/2014/main" id="{953D35AA-C602-4B69-A604-A4CCBA65C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869841757 w 501"/>
                <a:gd name="T1" fmla="*/ 1659837019 h 429"/>
                <a:gd name="T2" fmla="*/ 1764144785 w 501"/>
                <a:gd name="T3" fmla="*/ 1521425573 h 429"/>
                <a:gd name="T4" fmla="*/ 1725057837 w 501"/>
                <a:gd name="T5" fmla="*/ 1469247882 h 429"/>
                <a:gd name="T6" fmla="*/ 1499934531 w 501"/>
                <a:gd name="T7" fmla="*/ 1361880031 h 429"/>
                <a:gd name="T8" fmla="*/ 1208442835 w 501"/>
                <a:gd name="T9" fmla="*/ 1659837019 h 429"/>
                <a:gd name="T10" fmla="*/ 1499934531 w 501"/>
                <a:gd name="T11" fmla="*/ 1951342137 h 429"/>
                <a:gd name="T12" fmla="*/ 1725057837 w 501"/>
                <a:gd name="T13" fmla="*/ 1845836989 h 429"/>
                <a:gd name="T14" fmla="*/ 1764144785 w 501"/>
                <a:gd name="T15" fmla="*/ 1792865048 h 429"/>
                <a:gd name="T16" fmla="*/ 1869841757 w 501"/>
                <a:gd name="T17" fmla="*/ 1659837019 h 429"/>
                <a:gd name="T18" fmla="*/ 844430463 w 501"/>
                <a:gd name="T19" fmla="*/ 1653081009 h 429"/>
                <a:gd name="T20" fmla="*/ 1499934531 w 501"/>
                <a:gd name="T21" fmla="*/ 995327786 h 429"/>
                <a:gd name="T22" fmla="*/ 2000652606 w 501"/>
                <a:gd name="T23" fmla="*/ 1229070891 h 429"/>
                <a:gd name="T24" fmla="*/ 2004353788 w 501"/>
                <a:gd name="T25" fmla="*/ 1240249847 h 429"/>
                <a:gd name="T26" fmla="*/ 2015706786 w 501"/>
                <a:gd name="T27" fmla="*/ 1235513344 h 429"/>
                <a:gd name="T28" fmla="*/ 1300958765 w 501"/>
                <a:gd name="T29" fmla="*/ 0 h 429"/>
                <a:gd name="T30" fmla="*/ 0 w 501"/>
                <a:gd name="T31" fmla="*/ 2147483646 h 429"/>
                <a:gd name="T32" fmla="*/ 1270102821 w 501"/>
                <a:gd name="T33" fmla="*/ 2147483646 h 429"/>
                <a:gd name="T34" fmla="*/ 1276833177 w 501"/>
                <a:gd name="T35" fmla="*/ 2147483646 h 429"/>
                <a:gd name="T36" fmla="*/ 1145170959 w 501"/>
                <a:gd name="T37" fmla="*/ 2147483646 h 429"/>
                <a:gd name="T38" fmla="*/ 844430463 w 501"/>
                <a:gd name="T39" fmla="*/ 1653081009 h 429"/>
                <a:gd name="T40" fmla="*/ 2147483646 w 501"/>
                <a:gd name="T41" fmla="*/ 2147483646 h 429"/>
                <a:gd name="T42" fmla="*/ 2147483646 w 501"/>
                <a:gd name="T43" fmla="*/ 2147483646 h 429"/>
                <a:gd name="T44" fmla="*/ 2107862744 w 501"/>
                <a:gd name="T45" fmla="*/ 1944597706 h 429"/>
                <a:gd name="T46" fmla="*/ 1978183592 w 501"/>
                <a:gd name="T47" fmla="*/ 2110879886 h 429"/>
                <a:gd name="T48" fmla="*/ 1733656531 w 501"/>
                <a:gd name="T49" fmla="*/ 2147483646 h 429"/>
                <a:gd name="T50" fmla="*/ 1733656531 w 501"/>
                <a:gd name="T51" fmla="*/ 2147483646 h 429"/>
                <a:gd name="T52" fmla="*/ 2147483646 w 501"/>
                <a:gd name="T53" fmla="*/ 2147483646 h 429"/>
                <a:gd name="T54" fmla="*/ 2147483646 w 501"/>
                <a:gd name="T55" fmla="*/ 2147483646 h 429"/>
                <a:gd name="T56" fmla="*/ 2147483646 w 501"/>
                <a:gd name="T57" fmla="*/ 2147483646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6" name="Freeform 10">
              <a:extLst>
                <a:ext uri="{FF2B5EF4-FFF2-40B4-BE49-F238E27FC236}">
                  <a16:creationId xmlns:a16="http://schemas.microsoft.com/office/drawing/2014/main" id="{BB852431-5053-4CB9-BD3B-B3CFC9A75F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01767805 w 937"/>
                <a:gd name="T1" fmla="*/ 711138951 h 326"/>
                <a:gd name="T2" fmla="*/ 410687662 w 937"/>
                <a:gd name="T3" fmla="*/ 465599188 h 326"/>
                <a:gd name="T4" fmla="*/ 658110446 w 937"/>
                <a:gd name="T5" fmla="*/ 276863184 h 326"/>
                <a:gd name="T6" fmla="*/ 978929204 w 937"/>
                <a:gd name="T7" fmla="*/ 522757726 h 326"/>
                <a:gd name="T8" fmla="*/ 1334169885 w 937"/>
                <a:gd name="T9" fmla="*/ 522757726 h 326"/>
                <a:gd name="T10" fmla="*/ 673981114 w 937"/>
                <a:gd name="T11" fmla="*/ 0 h 326"/>
                <a:gd name="T12" fmla="*/ 62385095 w 937"/>
                <a:gd name="T13" fmla="*/ 491791576 h 326"/>
                <a:gd name="T14" fmla="*/ 548530255 w 937"/>
                <a:gd name="T15" fmla="*/ 957093254 h 326"/>
                <a:gd name="T16" fmla="*/ 1037599821 w 937"/>
                <a:gd name="T17" fmla="*/ 1225687750 h 326"/>
                <a:gd name="T18" fmla="*/ 715650536 w 937"/>
                <a:gd name="T19" fmla="*/ 1429016220 h 326"/>
                <a:gd name="T20" fmla="*/ 352033256 w 937"/>
                <a:gd name="T21" fmla="*/ 1125932337 h 326"/>
                <a:gd name="T22" fmla="*/ 4728972 w 937"/>
                <a:gd name="T23" fmla="*/ 1125932337 h 326"/>
                <a:gd name="T24" fmla="*/ 707117927 w 937"/>
                <a:gd name="T25" fmla="*/ 1706716319 h 326"/>
                <a:gd name="T26" fmla="*/ 1384902835 w 937"/>
                <a:gd name="T27" fmla="*/ 1183118711 h 326"/>
                <a:gd name="T28" fmla="*/ 901767805 w 937"/>
                <a:gd name="T29" fmla="*/ 711138951 h 326"/>
                <a:gd name="T30" fmla="*/ 2147483646 w 937"/>
                <a:gd name="T31" fmla="*/ 634436110 h 326"/>
                <a:gd name="T32" fmla="*/ 2147483646 w 937"/>
                <a:gd name="T33" fmla="*/ 634436110 h 326"/>
                <a:gd name="T34" fmla="*/ 2147483646 w 937"/>
                <a:gd name="T35" fmla="*/ 454108485 h 326"/>
                <a:gd name="T36" fmla="*/ 1972169981 w 937"/>
                <a:gd name="T37" fmla="*/ 1067889945 h 326"/>
                <a:gd name="T38" fmla="*/ 2147483646 w 937"/>
                <a:gd name="T39" fmla="*/ 1702328018 h 326"/>
                <a:gd name="T40" fmla="*/ 2147483646 w 937"/>
                <a:gd name="T41" fmla="*/ 1518287469 h 326"/>
                <a:gd name="T42" fmla="*/ 2147483646 w 937"/>
                <a:gd name="T43" fmla="*/ 1518287469 h 326"/>
                <a:gd name="T44" fmla="*/ 2147483646 w 937"/>
                <a:gd name="T45" fmla="*/ 1669346971 h 326"/>
                <a:gd name="T46" fmla="*/ 2147483646 w 937"/>
                <a:gd name="T47" fmla="*/ 1669346971 h 326"/>
                <a:gd name="T48" fmla="*/ 2147483646 w 937"/>
                <a:gd name="T49" fmla="*/ 42033339 h 326"/>
                <a:gd name="T50" fmla="*/ 2147483646 w 937"/>
                <a:gd name="T51" fmla="*/ 42033339 h 326"/>
                <a:gd name="T52" fmla="*/ 2147483646 w 937"/>
                <a:gd name="T53" fmla="*/ 634436110 h 326"/>
                <a:gd name="T54" fmla="*/ 2147483646 w 937"/>
                <a:gd name="T55" fmla="*/ 1456419223 h 326"/>
                <a:gd name="T56" fmla="*/ 2147483646 w 937"/>
                <a:gd name="T57" fmla="*/ 1078984554 h 326"/>
                <a:gd name="T58" fmla="*/ 2147483646 w 937"/>
                <a:gd name="T59" fmla="*/ 702723735 h 326"/>
                <a:gd name="T60" fmla="*/ 2147483646 w 937"/>
                <a:gd name="T61" fmla="*/ 1072587526 h 326"/>
                <a:gd name="T62" fmla="*/ 2147483646 w 937"/>
                <a:gd name="T63" fmla="*/ 1456419223 h 326"/>
                <a:gd name="T64" fmla="*/ 2147483646 w 937"/>
                <a:gd name="T65" fmla="*/ 454108485 h 326"/>
                <a:gd name="T66" fmla="*/ 2147483646 w 937"/>
                <a:gd name="T67" fmla="*/ 1078984554 h 326"/>
                <a:gd name="T68" fmla="*/ 2147483646 w 937"/>
                <a:gd name="T69" fmla="*/ 1702328018 h 326"/>
                <a:gd name="T70" fmla="*/ 2147483646 w 937"/>
                <a:gd name="T71" fmla="*/ 1303534835 h 326"/>
                <a:gd name="T72" fmla="*/ 2147483646 w 937"/>
                <a:gd name="T73" fmla="*/ 1303534835 h 326"/>
                <a:gd name="T74" fmla="*/ 2147483646 w 937"/>
                <a:gd name="T75" fmla="*/ 1456419223 h 326"/>
                <a:gd name="T76" fmla="*/ 2147483646 w 937"/>
                <a:gd name="T77" fmla="*/ 1156886564 h 326"/>
                <a:gd name="T78" fmla="*/ 2147483646 w 937"/>
                <a:gd name="T79" fmla="*/ 1156886564 h 326"/>
                <a:gd name="T80" fmla="*/ 2147483646 w 937"/>
                <a:gd name="T81" fmla="*/ 454108485 h 326"/>
                <a:gd name="T82" fmla="*/ 2147483646 w 937"/>
                <a:gd name="T83" fmla="*/ 953533546 h 326"/>
                <a:gd name="T84" fmla="*/ 2147483646 w 937"/>
                <a:gd name="T85" fmla="*/ 702723735 h 326"/>
                <a:gd name="T86" fmla="*/ 2147483646 w 937"/>
                <a:gd name="T87" fmla="*/ 953533546 h 326"/>
                <a:gd name="T88" fmla="*/ 2147483646 w 937"/>
                <a:gd name="T89" fmla="*/ 953533546 h 326"/>
                <a:gd name="T90" fmla="*/ 2147483646 w 937"/>
                <a:gd name="T91" fmla="*/ 1669346971 h 326"/>
                <a:gd name="T92" fmla="*/ 2147483646 w 937"/>
                <a:gd name="T93" fmla="*/ 1669346971 h 326"/>
                <a:gd name="T94" fmla="*/ 2147483646 w 937"/>
                <a:gd name="T95" fmla="*/ 42033339 h 326"/>
                <a:gd name="T96" fmla="*/ 2147483646 w 937"/>
                <a:gd name="T97" fmla="*/ 42033339 h 326"/>
                <a:gd name="T98" fmla="*/ 2147483646 w 937"/>
                <a:gd name="T99" fmla="*/ 1669346971 h 326"/>
                <a:gd name="T100" fmla="*/ 1507507815 w 937"/>
                <a:gd name="T101" fmla="*/ 1669346971 h 326"/>
                <a:gd name="T102" fmla="*/ 1833453356 w 937"/>
                <a:gd name="T103" fmla="*/ 1669346971 h 326"/>
                <a:gd name="T104" fmla="*/ 1833453356 w 937"/>
                <a:gd name="T105" fmla="*/ 487782985 h 326"/>
                <a:gd name="T106" fmla="*/ 1507507815 w 937"/>
                <a:gd name="T107" fmla="*/ 487782985 h 326"/>
                <a:gd name="T108" fmla="*/ 1507507815 w 937"/>
                <a:gd name="T109" fmla="*/ 1669346971 h 326"/>
                <a:gd name="T110" fmla="*/ 1507507815 w 937"/>
                <a:gd name="T111" fmla="*/ 307968761 h 326"/>
                <a:gd name="T112" fmla="*/ 1833453356 w 937"/>
                <a:gd name="T113" fmla="*/ 307968761 h 326"/>
                <a:gd name="T114" fmla="*/ 1833453356 w 937"/>
                <a:gd name="T115" fmla="*/ 42033339 h 326"/>
                <a:gd name="T116" fmla="*/ 1507507815 w 937"/>
                <a:gd name="T117" fmla="*/ 42033339 h 326"/>
                <a:gd name="T118" fmla="*/ 1507507815 w 937"/>
                <a:gd name="T119" fmla="*/ 30796876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6D2574F-E91E-46FE-B42D-B5DDB55C877C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E75EFCC3-3A40-4159-8123-C21E171D07E3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39637394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1">
            <a:extLst>
              <a:ext uri="{FF2B5EF4-FFF2-40B4-BE49-F238E27FC236}">
                <a16:creationId xmlns:a16="http://schemas.microsoft.com/office/drawing/2014/main" id="{108398AB-264B-4F00-A765-25298D7F5BCB}"/>
              </a:ext>
            </a:extLst>
          </p:cNvPr>
          <p:cNvGrpSpPr>
            <a:grpSpLocks/>
          </p:cNvGrpSpPr>
          <p:nvPr/>
        </p:nvGrpSpPr>
        <p:grpSpPr bwMode="auto">
          <a:xfrm>
            <a:off x="654050" y="1779588"/>
            <a:ext cx="7991475" cy="4055155"/>
            <a:chOff x="647700" y="1908175"/>
            <a:chExt cx="7991475" cy="3938588"/>
          </a:xfrm>
        </p:grpSpPr>
        <p:sp>
          <p:nvSpPr>
            <p:cNvPr id="26" name="Rechteck 3">
              <a:extLst>
                <a:ext uri="{FF2B5EF4-FFF2-40B4-BE49-F238E27FC236}">
                  <a16:creationId xmlns:a16="http://schemas.microsoft.com/office/drawing/2014/main" id="{C2E49416-2DE8-4D1B-AE0B-397E831D1426}"/>
                </a:ext>
              </a:extLst>
            </p:cNvPr>
            <p:cNvSpPr/>
            <p:nvPr/>
          </p:nvSpPr>
          <p:spPr>
            <a:xfrm>
              <a:off x="6477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EUR ET AVANTAGES</a:t>
              </a:r>
              <a:endParaRPr lang="fr-F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27" name="Rechteck 4">
              <a:extLst>
                <a:ext uri="{FF2B5EF4-FFF2-40B4-BE49-F238E27FC236}">
                  <a16:creationId xmlns:a16="http://schemas.microsoft.com/office/drawing/2014/main" id="{EF5FA875-E6A5-46BA-BA64-FAF6CF5BFFD8}"/>
                </a:ext>
              </a:extLst>
            </p:cNvPr>
            <p:cNvSpPr>
              <a:spLocks/>
            </p:cNvSpPr>
            <p:nvPr/>
          </p:nvSpPr>
          <p:spPr>
            <a:xfrm>
              <a:off x="647700" y="2308225"/>
              <a:ext cx="3889375" cy="35385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 eaLnBrk="1" hangingPunct="1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  <p:sp>
          <p:nvSpPr>
            <p:cNvPr id="28" name="Rechteck 11">
              <a:extLst>
                <a:ext uri="{FF2B5EF4-FFF2-40B4-BE49-F238E27FC236}">
                  <a16:creationId xmlns:a16="http://schemas.microsoft.com/office/drawing/2014/main" id="{5EE8EE76-8218-4370-82A9-B049E9890DF1}"/>
                </a:ext>
              </a:extLst>
            </p:cNvPr>
            <p:cNvSpPr/>
            <p:nvPr/>
          </p:nvSpPr>
          <p:spPr>
            <a:xfrm>
              <a:off x="47498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 eaLnBrk="1" hangingPunct="1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DESCRIPTION</a:t>
              </a:r>
            </a:p>
          </p:txBody>
        </p:sp>
        <p:sp>
          <p:nvSpPr>
            <p:cNvPr id="29" name="Rechteck 12">
              <a:extLst>
                <a:ext uri="{FF2B5EF4-FFF2-40B4-BE49-F238E27FC236}">
                  <a16:creationId xmlns:a16="http://schemas.microsoft.com/office/drawing/2014/main" id="{EE359A63-2C51-4631-950C-1748AC6C9D3F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50"/>
              <a:ext cx="3889375" cy="35417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 eaLnBrk="1" hangingPunct="1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293235"/>
            <a:ext cx="7993063" cy="461665"/>
          </a:xfrm>
        </p:spPr>
        <p:txBody>
          <a:bodyPr/>
          <a:lstStyle/>
          <a:p>
            <a:r>
              <a:rPr lang="fr-FR" dirty="0"/>
              <a:t>Anticiper la pénurie des pièces de rechange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8447" y="1445710"/>
            <a:ext cx="7997825" cy="307975"/>
          </a:xfrm>
        </p:spPr>
        <p:txBody>
          <a:bodyPr/>
          <a:lstStyle/>
          <a:p>
            <a:r>
              <a:rPr lang="fr-FR" dirty="0"/>
              <a:t>Nouveau convertisseur de fréquence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4937" y="2188209"/>
            <a:ext cx="3866263" cy="2411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Matériel de dernière génération et pièces de rechange disponibles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Optimisation des performances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Augmentation de la viabilité et de la productivité, évite de longs temps d'arrêt en cas de casse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Autonomie du personnel de maintenance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Augmentation de la capacité de mémoire, permettant de gérer des tailles supplémentaires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Nouvelles fonctions supplémentaires disponibles en option (réglage fin)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Diagnostic plus facile pour la maintenanc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26269" y="2176463"/>
            <a:ext cx="391014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100" dirty="0">
                <a:solidFill>
                  <a:srgbClr val="000000"/>
                </a:solidFill>
              </a:rPr>
              <a:t>Fourniture de nouvelle génération de variateurs de fréquence avec onduleurs </a:t>
            </a:r>
            <a:r>
              <a:rPr lang="fr-FR" sz="1100" dirty="0" err="1">
                <a:solidFill>
                  <a:srgbClr val="000000"/>
                </a:solidFill>
              </a:rPr>
              <a:t>Sew</a:t>
            </a:r>
            <a:r>
              <a:rPr lang="fr-FR" sz="1100" dirty="0">
                <a:solidFill>
                  <a:srgbClr val="000000"/>
                </a:solidFill>
              </a:rPr>
              <a:t> </a:t>
            </a:r>
            <a:r>
              <a:rPr lang="fr-FR" sz="1100" dirty="0" err="1">
                <a:solidFill>
                  <a:srgbClr val="000000"/>
                </a:solidFill>
              </a:rPr>
              <a:t>Movitrac</a:t>
            </a:r>
            <a:r>
              <a:rPr lang="fr-FR" sz="1100" dirty="0">
                <a:solidFill>
                  <a:srgbClr val="000000"/>
                </a:solidFill>
              </a:rPr>
              <a:t>, selon notre norme</a:t>
            </a:r>
          </a:p>
        </p:txBody>
      </p:sp>
      <p:pic>
        <p:nvPicPr>
          <p:cNvPr id="30" name="Image 5">
            <a:extLst>
              <a:ext uri="{FF2B5EF4-FFF2-40B4-BE49-F238E27FC236}">
                <a16:creationId xmlns:a16="http://schemas.microsoft.com/office/drawing/2014/main" id="{4EB33A89-40D0-4E7D-9095-9EFBC063DD0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79159" y="2819821"/>
            <a:ext cx="1015553" cy="2493747"/>
          </a:xfrm>
          <a:prstGeom prst="rect">
            <a:avLst/>
          </a:prstGeom>
        </p:spPr>
      </p:pic>
      <p:sp>
        <p:nvSpPr>
          <p:cNvPr id="31" name="Flèche droite 2">
            <a:extLst>
              <a:ext uri="{FF2B5EF4-FFF2-40B4-BE49-F238E27FC236}">
                <a16:creationId xmlns:a16="http://schemas.microsoft.com/office/drawing/2014/main" id="{D39C15B1-775D-4B0E-9362-7EEC5253898A}"/>
              </a:ext>
            </a:extLst>
          </p:cNvPr>
          <p:cNvSpPr>
            <a:spLocks/>
          </p:cNvSpPr>
          <p:nvPr/>
        </p:nvSpPr>
        <p:spPr>
          <a:xfrm>
            <a:off x="6725452" y="3753498"/>
            <a:ext cx="619053" cy="766910"/>
          </a:xfrm>
          <a:prstGeom prst="rightArrow">
            <a:avLst/>
          </a:prstGeom>
          <a:solidFill>
            <a:srgbClr val="E64B00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endParaRPr lang="fr-FR" dirty="0"/>
          </a:p>
        </p:txBody>
      </p:sp>
      <p:pic>
        <p:nvPicPr>
          <p:cNvPr id="32" name="Image 9">
            <a:extLst>
              <a:ext uri="{FF2B5EF4-FFF2-40B4-BE49-F238E27FC236}">
                <a16:creationId xmlns:a16="http://schemas.microsoft.com/office/drawing/2014/main" id="{21F1E8FE-E384-462A-8205-EADEB67FA95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961"/>
          <a:stretch/>
        </p:blipFill>
        <p:spPr>
          <a:xfrm>
            <a:off x="4817276" y="2835868"/>
            <a:ext cx="1911998" cy="2477700"/>
          </a:xfrm>
          <a:prstGeom prst="rect">
            <a:avLst/>
          </a:prstGeom>
        </p:spPr>
      </p:pic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83AC377-0188-413C-936E-E74C8CBE01B5}"/>
              </a:ext>
            </a:extLst>
          </p:cNvPr>
          <p:cNvSpPr txBox="1">
            <a:spLocks/>
          </p:cNvSpPr>
          <p:nvPr/>
        </p:nvSpPr>
        <p:spPr bwMode="auto">
          <a:xfrm>
            <a:off x="668447" y="5901302"/>
            <a:ext cx="7978775" cy="431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eur : </a:t>
            </a:r>
            <a:r>
              <a:rPr lang="fr-FR" sz="800" dirty="0">
                <a:solidFill>
                  <a:srgbClr val="000000"/>
                </a:solidFill>
              </a:rPr>
              <a:t>Obsolescence, Maintenance, O</a:t>
            </a:r>
            <a:r>
              <a:rPr lang="en-US" sz="800" dirty="0" err="1">
                <a:solidFill>
                  <a:srgbClr val="000000"/>
                </a:solidFill>
              </a:rPr>
              <a:t>ptimisation</a:t>
            </a:r>
            <a:r>
              <a:rPr lang="en-US" sz="800" dirty="0">
                <a:solidFill>
                  <a:srgbClr val="000000"/>
                </a:solidFill>
              </a:rPr>
              <a:t> des </a:t>
            </a:r>
            <a:r>
              <a:rPr lang="en-US" sz="800" dirty="0" err="1">
                <a:solidFill>
                  <a:srgbClr val="000000"/>
                </a:solidFill>
              </a:rPr>
              <a:t>coûts</a:t>
            </a:r>
            <a:r>
              <a:rPr lang="fr-FR" sz="800" dirty="0">
                <a:solidFill>
                  <a:srgbClr val="000000"/>
                </a:solidFill>
              </a:rPr>
              <a:t> 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lvl="0"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Équipements : </a:t>
            </a:r>
            <a:r>
              <a:rPr lang="en-US" sz="800" kern="0" dirty="0"/>
              <a:t>Packing </a:t>
            </a:r>
            <a:r>
              <a:rPr lang="en-US" sz="800" kern="0" dirty="0" err="1"/>
              <a:t>Corcelles</a:t>
            </a:r>
            <a:r>
              <a:rPr lang="en-US" sz="800" kern="0" dirty="0"/>
              <a:t> 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de catalogue : CLC-017</a:t>
            </a:r>
          </a:p>
        </p:txBody>
      </p:sp>
    </p:spTree>
    <p:extLst>
      <p:ext uri="{BB962C8B-B14F-4D97-AF65-F5344CB8AC3E}">
        <p14:creationId xmlns:p14="http://schemas.microsoft.com/office/powerpoint/2010/main" val="8250884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2791</TotalTime>
  <Words>96</Words>
  <Application>Microsoft Office PowerPoint</Application>
  <PresentationFormat>On-screen Show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1_NewSidel_Template_4x3_with add layouts</vt:lpstr>
      <vt:lpstr>think-cell Folie</vt:lpstr>
      <vt:lpstr>Anticiper la pénurie des pièces de rechang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84</cp:revision>
  <dcterms:created xsi:type="dcterms:W3CDTF">2019-02-20T10:39:16Z</dcterms:created>
  <dcterms:modified xsi:type="dcterms:W3CDTF">2021-03-26T13:20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1-03-26T13:20:32Z</vt:lpwstr>
  </property>
  <property fmtid="{D5CDD505-2E9C-101B-9397-08002B2CF9AE}" pid="6" name="MSIP_Label_94480757-a570-4f64-84e7-c5b3ffe9d573_Method">
    <vt:lpwstr>Standar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/>
  </property>
  <property fmtid="{D5CDD505-2E9C-101B-9397-08002B2CF9AE}" pid="10" name="MSIP_Label_94480757-a570-4f64-84e7-c5b3ffe9d573_ContentBits">
    <vt:lpwstr>2</vt:lpwstr>
  </property>
</Properties>
</file>